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2"/>
  </p:notesMasterIdLst>
  <p:handoutMasterIdLst>
    <p:handoutMasterId r:id="rId23"/>
  </p:handoutMasterIdLst>
  <p:sldIdLst>
    <p:sldId id="276" r:id="rId2"/>
    <p:sldId id="426" r:id="rId3"/>
    <p:sldId id="657" r:id="rId4"/>
    <p:sldId id="649" r:id="rId5"/>
    <p:sldId id="656" r:id="rId6"/>
    <p:sldId id="650" r:id="rId7"/>
    <p:sldId id="643" r:id="rId8"/>
    <p:sldId id="658" r:id="rId9"/>
    <p:sldId id="644" r:id="rId10"/>
    <p:sldId id="652" r:id="rId11"/>
    <p:sldId id="646" r:id="rId12"/>
    <p:sldId id="653" r:id="rId13"/>
    <p:sldId id="647" r:id="rId14"/>
    <p:sldId id="654" r:id="rId15"/>
    <p:sldId id="633" r:id="rId16"/>
    <p:sldId id="659" r:id="rId17"/>
    <p:sldId id="617" r:id="rId18"/>
    <p:sldId id="618" r:id="rId19"/>
    <p:sldId id="661" r:id="rId20"/>
    <p:sldId id="660" r:id="rId21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 userDrawn="1">
          <p15:clr>
            <a:srgbClr val="F26B43"/>
          </p15:clr>
        </p15:guide>
        <p15:guide id="3" pos="312" userDrawn="1">
          <p15:clr>
            <a:srgbClr val="F26B43"/>
          </p15:clr>
        </p15:guide>
        <p15:guide id="4" pos="1104" userDrawn="1">
          <p15:clr>
            <a:srgbClr val="F26B43"/>
          </p15:clr>
        </p15:guide>
        <p15:guide id="5" pos="5160" userDrawn="1">
          <p15:clr>
            <a:srgbClr val="F26B43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mala" initials="K" lastIdx="1" clrIdx="0">
    <p:extLst>
      <p:ext uri="{19B8F6BF-5375-455C-9EA6-DF929625EA0E}">
        <p15:presenceInfo xmlns:p15="http://schemas.microsoft.com/office/powerpoint/2012/main" userId="Komal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0000"/>
    <a:srgbClr val="4E82BC"/>
    <a:srgbClr val="DD6409"/>
    <a:srgbClr val="FF9933"/>
    <a:srgbClr val="FF3300"/>
    <a:srgbClr val="FF7C80"/>
    <a:srgbClr val="B1135A"/>
    <a:srgbClr val="EAEBE6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97" autoAdjust="0"/>
    <p:restoredTop sz="95179" autoAdjust="0"/>
  </p:normalViewPr>
  <p:slideViewPr>
    <p:cSldViewPr snapToGrid="0" showGuides="1">
      <p:cViewPr varScale="1">
        <p:scale>
          <a:sx n="88" d="100"/>
          <a:sy n="88" d="100"/>
        </p:scale>
        <p:origin x="762" y="78"/>
      </p:cViewPr>
      <p:guideLst>
        <p:guide orient="horz" pos="486"/>
        <p:guide pos="312"/>
        <p:guide pos="1104"/>
        <p:guide pos="5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8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3001C7-0E60-4A28-87D0-DB9CABFF5C8B}" type="datetimeFigureOut">
              <a:rPr lang="en-IN" smtClean="0"/>
              <a:t>08-10-2015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981A5D-A40D-4EC7-BFF0-6E2C742A748E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415315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ECDCE2-806D-4599-8BCA-79DEF8E10D46}" type="datetimeFigureOut">
              <a:rPr lang="en-IN" smtClean="0"/>
              <a:t>08-10-2015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72DF32-8D47-42FD-B435-FE4F3C14D774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14653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2DF32-8D47-42FD-B435-FE4F3C14D774}" type="slidenum">
              <a:rPr lang="en-IN" smtClean="0"/>
              <a:t>4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16308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www.information-management.com/gallery/Big-Data-Hadoop-2015-Predictions-Forrester-10026357-1.html</a:t>
            </a:r>
          </a:p>
          <a:p>
            <a:r>
              <a:rPr lang="en-US" dirty="0" smtClean="0"/>
              <a:t>https://www.forrester.com/Predictions+2015+Hadoop+Will+Become+A+Cornerstone+Of+Your+Business+Technology+Agenda/fulltext/-/E-RES11770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2DF32-8D47-42FD-B435-FE4F3C14D774}" type="slidenum">
              <a:rPr lang="en-IN" smtClean="0"/>
              <a:t>18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3297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1474" y="27010"/>
            <a:ext cx="9144000" cy="5143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srgbClr val="262626"/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22300" y="4794274"/>
            <a:ext cx="2133600" cy="273844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239668" y="198062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6833367" y="4517275"/>
            <a:ext cx="23106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r-for-analytics</a:t>
            </a:r>
            <a:endParaRPr lang="en-IN" sz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bk object 16"/>
          <p:cNvSpPr/>
          <p:nvPr userDrawn="1"/>
        </p:nvSpPr>
        <p:spPr>
          <a:xfrm>
            <a:off x="0" y="0"/>
            <a:ext cx="9144000" cy="51434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defTabSz="914400"/>
            <a:endParaRPr sz="1800" dirty="0">
              <a:solidFill>
                <a:srgbClr val="262626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398843" y="4768516"/>
            <a:ext cx="3235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pache-spark-scala-training</a:t>
            </a:r>
            <a:endParaRPr lang="en-IN" sz="12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5246" y="104013"/>
            <a:ext cx="3600052" cy="294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347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3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0"/>
          <p:cNvSpPr txBox="1"/>
          <p:nvPr userDrawn="1"/>
        </p:nvSpPr>
        <p:spPr>
          <a:xfrm>
            <a:off x="34925" y="4795841"/>
            <a:ext cx="1441450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685766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685766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10"/>
          <p:cNvSpPr txBox="1"/>
          <p:nvPr userDrawn="1"/>
        </p:nvSpPr>
        <p:spPr>
          <a:xfrm>
            <a:off x="34925" y="4795839"/>
            <a:ext cx="1441450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462351" y="4795064"/>
            <a:ext cx="32356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aseline="0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pache-spark-scala-training</a:t>
            </a:r>
            <a:endParaRPr lang="en-IN" sz="1200" baseline="0" dirty="0">
              <a:solidFill>
                <a:schemeClr val="accent2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997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240D5ECE-8B49-45CD-BE81-EF81920D1969}" type="slidenum">
              <a:rPr lang="en-US" smtClean="0">
                <a:solidFill>
                  <a:srgbClr val="262626">
                    <a:lumMod val="85000"/>
                    <a:lumOff val="1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85000"/>
                  <a:lumOff val="1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2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defTabSz="914400"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348051" y="4795064"/>
            <a:ext cx="37346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dvanced-predictive-modelling-in-r</a:t>
            </a:r>
            <a:endParaRPr lang="en-IN" sz="12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240D5ECE-8B49-45CD-BE81-EF81920D1969}" type="slidenum">
              <a:rPr lang="en-US" smtClean="0">
                <a:solidFill>
                  <a:srgbClr val="262626">
                    <a:lumMod val="85000"/>
                    <a:lumOff val="1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85000"/>
                  <a:lumOff val="1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3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076" y="123478"/>
            <a:ext cx="1840832" cy="331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07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240D5ECE-8B49-45CD-BE81-EF81920D1969}" type="slidenum">
              <a:rPr lang="en-US" smtClean="0">
                <a:solidFill>
                  <a:srgbClr val="262626">
                    <a:lumMod val="85000"/>
                    <a:lumOff val="1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85000"/>
                  <a:lumOff val="1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2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166" y="1425362"/>
            <a:ext cx="4911175" cy="2790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599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7_Title and Conten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240D5ECE-8B49-45CD-BE81-EF81920D1969}" type="slidenum">
              <a:rPr lang="en-US" smtClean="0">
                <a:solidFill>
                  <a:srgbClr val="262626">
                    <a:lumMod val="85000"/>
                    <a:lumOff val="1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85000"/>
                  <a:lumOff val="1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8501"/>
            <a:ext cx="466344" cy="8229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3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6264" y="964260"/>
            <a:ext cx="1779354" cy="3811051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 userDrawn="1"/>
        </p:nvSpPr>
        <p:spPr>
          <a:xfrm>
            <a:off x="5348051" y="4795064"/>
            <a:ext cx="37346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ww.edureka.co/advanced-predictive-modelling-in-r</a:t>
            </a:r>
            <a:endParaRPr lang="en-IN" sz="12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75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391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pPr defTabSz="685766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/>
            <a:fld id="{240D5ECE-8B49-45CD-BE81-EF81920D1969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685766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4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694" r:id="rId2"/>
    <p:sldLayoutId id="2147483707" r:id="rId3"/>
    <p:sldLayoutId id="2147483690" r:id="rId4"/>
    <p:sldLayoutId id="2147483711" r:id="rId5"/>
    <p:sldLayoutId id="2147483683" r:id="rId6"/>
    <p:sldLayoutId id="2147483712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333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75" indent="-342875" algn="l" defTabSz="91433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5" indent="-285729" algn="l" defTabSz="91433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5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2" algn="l" defTabSz="91433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6" indent="-228582" algn="l" defTabSz="91433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1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5929" y="3268461"/>
            <a:ext cx="7969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rgbClr val="0070C0"/>
                </a:solidFill>
                <a:latin typeface="Castellar" panose="020A0402060406010301" pitchFamily="18" charset="0"/>
              </a:rPr>
              <a:t>Apache Spark: Beyond Hadoop </a:t>
            </a:r>
            <a:r>
              <a:rPr lang="en-US" sz="2000" b="1" dirty="0" err="1">
                <a:solidFill>
                  <a:srgbClr val="0070C0"/>
                </a:solidFill>
                <a:latin typeface="Castellar" panose="020A0402060406010301" pitchFamily="18" charset="0"/>
              </a:rPr>
              <a:t>MapReduce</a:t>
            </a:r>
            <a:endParaRPr lang="en-IN" sz="2000" b="1" dirty="0">
              <a:solidFill>
                <a:srgbClr val="262626"/>
              </a:solidFill>
              <a:latin typeface="Castellar" panose="020A0402060406010301" pitchFamily="18" charset="0"/>
            </a:endParaRPr>
          </a:p>
        </p:txBody>
      </p:sp>
      <p:sp>
        <p:nvSpPr>
          <p:cNvPr id="2" name="AutoShape 2" descr="Inline image 1"/>
          <p:cNvSpPr>
            <a:spLocks noChangeAspect="1" noChangeArrowheads="1"/>
          </p:cNvSpPr>
          <p:nvPr/>
        </p:nvSpPr>
        <p:spPr bwMode="auto">
          <a:xfrm>
            <a:off x="155574" y="-144463"/>
            <a:ext cx="2409205" cy="2409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091542" y="3810000"/>
            <a:ext cx="3265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70C0"/>
                </a:solidFill>
              </a:rPr>
              <a:t>Presenter: Vishal</a:t>
            </a:r>
            <a:endParaRPr lang="en-US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11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18845" y="807534"/>
            <a:ext cx="846076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 smtClean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ark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es to keep things 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-memory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its distributed workers, allowing for significantly faster/lower-latency </a:t>
            </a:r>
            <a:r>
              <a:rPr lang="en-US" dirty="0" smtClean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utations,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reas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Reduce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keeps shuffling things in and out of disk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8836" y="145917"/>
            <a:ext cx="71526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dirty="0" smtClean="0">
                <a:ea typeface="Tahoma" panose="020B0604030504040204" pitchFamily="34" charset="0"/>
                <a:cs typeface="Tahoma" panose="020B0604030504040204" pitchFamily="34" charset="0"/>
              </a:rPr>
              <a:t>Spark Cuts Down Read/Write I/O To Disk</a:t>
            </a:r>
            <a:endParaRPr lang="en-US" sz="28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654132" y="1674049"/>
            <a:ext cx="5728700" cy="2909728"/>
            <a:chOff x="1613036" y="1941177"/>
            <a:chExt cx="5728700" cy="2909728"/>
          </a:xfrm>
        </p:grpSpPr>
        <p:grpSp>
          <p:nvGrpSpPr>
            <p:cNvPr id="6" name="Group 5"/>
            <p:cNvGrpSpPr/>
            <p:nvPr/>
          </p:nvGrpSpPr>
          <p:grpSpPr>
            <a:xfrm>
              <a:off x="1613036" y="1941177"/>
              <a:ext cx="5728700" cy="2909727"/>
              <a:chOff x="1150704" y="1869259"/>
              <a:chExt cx="5728700" cy="2909727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0705" y="1869261"/>
                <a:ext cx="5728699" cy="2909725"/>
              </a:xfrm>
              <a:prstGeom prst="rect">
                <a:avLst/>
              </a:prstGeom>
            </p:spPr>
          </p:pic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50704" y="1869259"/>
                <a:ext cx="1438383" cy="1665051"/>
              </a:xfrm>
              <a:prstGeom prst="rect">
                <a:avLst/>
              </a:prstGeom>
            </p:spPr>
          </p:pic>
        </p:grp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13400" y="4504697"/>
              <a:ext cx="2405872" cy="3462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888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836" y="145917"/>
            <a:ext cx="59300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dirty="0" smtClean="0">
                <a:solidFill>
                  <a:srgbClr val="262626"/>
                </a:solidFill>
              </a:rPr>
              <a:t>Overcoming MR limitations</a:t>
            </a:r>
            <a:endParaRPr lang="en-US" sz="2800" dirty="0">
              <a:solidFill>
                <a:srgbClr val="262626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01"/>
          <a:stretch/>
        </p:blipFill>
        <p:spPr>
          <a:xfrm rot="1524398">
            <a:off x="3935920" y="2522633"/>
            <a:ext cx="2981650" cy="151890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816420" y="2708476"/>
            <a:ext cx="1889768" cy="86270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908093" y="4303470"/>
            <a:ext cx="19281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2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braries for </a:t>
            </a:r>
            <a:r>
              <a:rPr lang="en-US" sz="12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chine</a:t>
            </a:r>
          </a:p>
          <a:p>
            <a:pPr lvl="0"/>
            <a:r>
              <a:rPr lang="en-US" sz="12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arning &amp; </a:t>
            </a:r>
            <a:r>
              <a:rPr lang="en-US" sz="12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sz="12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eaming</a:t>
            </a:r>
            <a:endParaRPr lang="en-US" sz="12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52924" flipH="1">
            <a:off x="6839870" y="2439057"/>
            <a:ext cx="1842618" cy="18000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27648" flipH="1">
            <a:off x="5846095" y="2080236"/>
            <a:ext cx="1841274" cy="1726989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7498707" y="2956255"/>
            <a:ext cx="950901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en-US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ph </a:t>
            </a:r>
            <a:endParaRPr lang="en-US" sz="105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fontAlgn="t"/>
            <a:r>
              <a:rPr lang="en-US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ing </a:t>
            </a:r>
            <a:endParaRPr lang="en-US" sz="105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219738" y="2441407"/>
            <a:ext cx="841897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en-US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</a:t>
            </a:r>
            <a:r>
              <a:rPr lang="en-US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mplex </a:t>
            </a:r>
          </a:p>
          <a:p>
            <a:pPr algn="ctr" fontAlgn="t"/>
            <a:r>
              <a:rPr lang="en-US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gorithm</a:t>
            </a:r>
            <a:endParaRPr lang="en-US" sz="105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921" y="653142"/>
            <a:ext cx="3915508" cy="246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15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286000" y="2317835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8836" y="145917"/>
            <a:ext cx="71526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dirty="0" smtClean="0">
                <a:ea typeface="Tahoma" panose="020B0604030504040204" pitchFamily="34" charset="0"/>
                <a:cs typeface="Tahoma" panose="020B0604030504040204" pitchFamily="34" charset="0"/>
              </a:rPr>
              <a:t>Libraries For ML, Graph Programming …</a:t>
            </a:r>
            <a:endParaRPr lang="en-US" sz="28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0275" y="1096705"/>
            <a:ext cx="4657725" cy="3276600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>
            <a:off x="5445303" y="2753474"/>
            <a:ext cx="2106203" cy="55480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618288" y="3164441"/>
            <a:ext cx="15257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chine Learning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brary</a:t>
            </a:r>
            <a:endParaRPr lang="en-US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6375113" y="2683952"/>
            <a:ext cx="847620" cy="5105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304926" y="2507656"/>
            <a:ext cx="1438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ph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gramming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1674688" y="2785059"/>
            <a:ext cx="1479478" cy="31218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68907" y="3019694"/>
            <a:ext cx="17645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ark interface </a:t>
            </a:r>
          </a:p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RDBMS lovers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308244" y="1736333"/>
            <a:ext cx="2794651" cy="95234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304926" y="1214879"/>
            <a:ext cx="1575318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ility for continuous ingestion of data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63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91973" y="2106203"/>
            <a:ext cx="3114763" cy="149827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98836" y="145917"/>
            <a:ext cx="59300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dirty="0" smtClean="0">
                <a:solidFill>
                  <a:srgbClr val="262626"/>
                </a:solidFill>
              </a:rPr>
              <a:t>Overcoming MR limitations</a:t>
            </a:r>
            <a:endParaRPr lang="en-US" sz="2800" dirty="0">
              <a:solidFill>
                <a:srgbClr val="262626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126686" y="3634690"/>
            <a:ext cx="14798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2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yclic data flows</a:t>
            </a:r>
            <a:endParaRPr lang="en-US" sz="1200" b="1" dirty="0">
              <a:solidFill>
                <a:srgbClr val="FF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 rot="19777851">
            <a:off x="1604715" y="1019285"/>
            <a:ext cx="2253001" cy="1923772"/>
            <a:chOff x="1934101" y="1278623"/>
            <a:chExt cx="2253001" cy="1923772"/>
          </a:xfrm>
        </p:grpSpPr>
        <p:grpSp>
          <p:nvGrpSpPr>
            <p:cNvPr id="3" name="Group 2"/>
            <p:cNvGrpSpPr/>
            <p:nvPr/>
          </p:nvGrpSpPr>
          <p:grpSpPr>
            <a:xfrm>
              <a:off x="1934101" y="1278623"/>
              <a:ext cx="1707915" cy="1430629"/>
              <a:chOff x="-120732" y="1155335"/>
              <a:chExt cx="1707915" cy="1430629"/>
            </a:xfrm>
          </p:grpSpPr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0624185" flipH="1">
                <a:off x="-120732" y="1155335"/>
                <a:ext cx="1707915" cy="1430629"/>
              </a:xfrm>
              <a:prstGeom prst="rect">
                <a:avLst/>
              </a:prstGeom>
            </p:spPr>
          </p:pic>
          <p:sp>
            <p:nvSpPr>
              <p:cNvPr id="2" name="Rectangle 1"/>
              <p:cNvSpPr/>
              <p:nvPr/>
            </p:nvSpPr>
            <p:spPr>
              <a:xfrm rot="801464">
                <a:off x="307467" y="1390757"/>
                <a:ext cx="851515" cy="4308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t"/>
                <a:r>
                  <a:rPr lang="en-US" sz="105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Iterative </a:t>
                </a:r>
                <a:endParaRPr lang="en-US" sz="105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algn="ctr" fontAlgn="t"/>
                <a:r>
                  <a:rPr lang="en-US" sz="105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asks</a:t>
                </a:r>
                <a:endParaRPr lang="en-US" sz="105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2508917" y="1441710"/>
              <a:ext cx="1678185" cy="1760685"/>
              <a:chOff x="6119384" y="1796688"/>
              <a:chExt cx="1678185" cy="1760685"/>
            </a:xfrm>
          </p:grpSpPr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822149" flipH="1">
                <a:off x="6119384" y="1796688"/>
                <a:ext cx="1678185" cy="1760685"/>
              </a:xfrm>
              <a:prstGeom prst="rect">
                <a:avLst/>
              </a:prstGeom>
            </p:spPr>
          </p:pic>
          <p:sp>
            <p:nvSpPr>
              <p:cNvPr id="36" name="Rectangle 35"/>
              <p:cNvSpPr/>
              <p:nvPr/>
            </p:nvSpPr>
            <p:spPr>
              <a:xfrm rot="1822149">
                <a:off x="6854489" y="2195255"/>
                <a:ext cx="813043" cy="4308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t"/>
                <a:r>
                  <a:rPr lang="en-US" sz="105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ndom </a:t>
                </a:r>
                <a:endParaRPr lang="en-US" sz="105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algn="ctr" fontAlgn="t"/>
                <a:r>
                  <a:rPr lang="en-US" sz="105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ccess</a:t>
                </a:r>
                <a:endParaRPr lang="en-US" sz="105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001" y="1287236"/>
            <a:ext cx="3097262" cy="1978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34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8836" y="145917"/>
            <a:ext cx="71526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dirty="0" smtClean="0">
                <a:ea typeface="Tahoma" panose="020B0604030504040204" pitchFamily="34" charset="0"/>
                <a:cs typeface="Tahoma" panose="020B0604030504040204" pitchFamily="34" charset="0"/>
              </a:rPr>
              <a:t>Cyclic Data Flows</a:t>
            </a:r>
            <a:endParaRPr lang="en-US" sz="28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5995" y="906875"/>
            <a:ext cx="2576342" cy="384413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65" y="2293702"/>
            <a:ext cx="4119381" cy="272899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09745" y="777013"/>
            <a:ext cx="4925283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 jobs in spark comprise a series of operators and run on a set of data. </a:t>
            </a:r>
            <a:endParaRPr lang="en-US" sz="1100" dirty="0" smtClean="0">
              <a:solidFill>
                <a:schemeClr val="accent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l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operators in a job are used to construct a DAG (Directed Acyclic Graph). </a:t>
            </a:r>
            <a:endParaRPr lang="en-US" sz="1100" dirty="0" smtClean="0">
              <a:solidFill>
                <a:schemeClr val="accent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en-US" sz="1100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G is optimized by rearranging and combining operators where possible. </a:t>
            </a:r>
          </a:p>
        </p:txBody>
      </p:sp>
    </p:spTree>
    <p:extLst>
      <p:ext uri="{BB962C8B-B14F-4D97-AF65-F5344CB8AC3E}">
        <p14:creationId xmlns:p14="http://schemas.microsoft.com/office/powerpoint/2010/main" val="8416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0268" y="1424655"/>
            <a:ext cx="65131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ark Features makes </a:t>
            </a:r>
            <a:r>
              <a:rPr lang="en-US" sz="2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en-US" sz="24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s Architecture better than MR</a:t>
            </a:r>
            <a:endParaRPr lang="en-US" sz="24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7806" y="2637063"/>
            <a:ext cx="2718080" cy="167368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57" y="2533339"/>
            <a:ext cx="961356" cy="61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77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32658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Other Spark Features In Demand</a:t>
            </a:r>
          </a:p>
        </p:txBody>
      </p:sp>
    </p:spTree>
    <p:extLst>
      <p:ext uri="{BB962C8B-B14F-4D97-AF65-F5344CB8AC3E}">
        <p14:creationId xmlns:p14="http://schemas.microsoft.com/office/powerpoint/2010/main" val="408223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98836" y="145917"/>
            <a:ext cx="516795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smtClean="0"/>
              <a:t>Spark Features/Modules In Demand</a:t>
            </a:r>
            <a:endParaRPr lang="en-US" sz="2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9110" r="5705" b="11830"/>
          <a:stretch/>
        </p:blipFill>
        <p:spPr>
          <a:xfrm>
            <a:off x="669691" y="1225900"/>
            <a:ext cx="7509667" cy="275324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369379" y="4817895"/>
            <a:ext cx="121379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1050" kern="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urce: </a:t>
            </a:r>
            <a:r>
              <a:rPr lang="en-US" sz="1050" kern="0" dirty="0" err="1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ypesafe</a:t>
            </a:r>
            <a:endParaRPr lang="en-IN" sz="1050" kern="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14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98836" y="145917"/>
            <a:ext cx="465604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600" dirty="0" smtClean="0">
                <a:solidFill>
                  <a:srgbClr val="262626"/>
                </a:solidFill>
                <a:latin typeface="+mj-lt"/>
              </a:rPr>
              <a:t>New Features In 2015</a:t>
            </a:r>
            <a:endParaRPr lang="en-IN" sz="2600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2299" y="764409"/>
            <a:ext cx="4656049" cy="398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Frames 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imilar API to data frames in R and Pandas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Automatically optimised via Spark SQL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3</a:t>
            </a:r>
          </a:p>
          <a:p>
            <a:pPr lvl="1"/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err="1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parkR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</a:t>
            </a:r>
          </a:p>
          <a:p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Released in Spark 1.4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poses </a:t>
            </a:r>
            <a:r>
              <a:rPr lang="en-IN" sz="11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DataFrames</a:t>
            </a: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, RDD’s &amp; </a:t>
            </a:r>
            <a:r>
              <a:rPr lang="en-IN" sz="11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Llibrary</a:t>
            </a: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in R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achine Learning Pipelines 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High Level API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Featurization</a:t>
            </a:r>
            <a:endParaRPr lang="en-IN" sz="11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valuation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Model Tuning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External Data Sources  </a:t>
            </a:r>
          </a:p>
          <a:p>
            <a:endParaRPr lang="en-IN" sz="120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latform API to plug Data-Sources into Spark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en-IN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Pushes logic into sources</a:t>
            </a:r>
            <a:endParaRPr lang="en-US" sz="11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693" y="1483040"/>
            <a:ext cx="3110068" cy="254844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369379" y="4817895"/>
            <a:ext cx="11769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1050" kern="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urce: </a:t>
            </a:r>
            <a:r>
              <a:rPr lang="en-US" sz="1050" kern="0" dirty="0" err="1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brix</a:t>
            </a:r>
            <a:endParaRPr lang="en-IN" sz="1050" kern="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40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52995" y="1063920"/>
            <a:ext cx="653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2000" b="1" dirty="0" smtClean="0">
                <a:latin typeface="Calibri" panose="020F0502020204030204" pitchFamily="34" charset="0"/>
              </a:rPr>
              <a:t>Get Certified in Spark from </a:t>
            </a:r>
            <a:r>
              <a:rPr lang="en-US" sz="2000" b="1" dirty="0" err="1" smtClean="0">
                <a:latin typeface="Calibri" panose="020F0502020204030204" pitchFamily="34" charset="0"/>
              </a:rPr>
              <a:t>Edureka</a:t>
            </a:r>
            <a:endParaRPr lang="en-US" sz="20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3" name="Round Diagonal Corner Rectangle 2"/>
          <p:cNvSpPr/>
          <p:nvPr/>
        </p:nvSpPr>
        <p:spPr>
          <a:xfrm>
            <a:off x="283226" y="2620510"/>
            <a:ext cx="8407730" cy="2113807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park and Scala course: </a:t>
            </a:r>
          </a:p>
          <a:p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earn large-scale data processing by mastering the concepts of Scala, RDD, Traits, OOPS and Spark SQL</a:t>
            </a: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Live Courses: 24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32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28287" y="1751810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www.edureka.co/apache-spark-scala-training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86940" y="2349959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10th October (Weekend Batch)</a:t>
            </a:r>
          </a:p>
        </p:txBody>
      </p:sp>
      <p:pic>
        <p:nvPicPr>
          <p:cNvPr id="6" name="Picture 5"/>
          <p:cNvPicPr preferRelativeResize="0">
            <a:picLocks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2367398" y="946399"/>
            <a:ext cx="612648" cy="603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4379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/>
        </p:nvSpPr>
        <p:spPr>
          <a:xfrm>
            <a:off x="2422846" y="3462392"/>
            <a:ext cx="6546494" cy="3967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70C0"/>
              </a:buClr>
              <a:buNone/>
            </a:pPr>
            <a:endParaRPr lang="en-US" sz="1400" dirty="0" smtClean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8836" y="145917"/>
            <a:ext cx="4656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dirty="0" smtClean="0">
                <a:solidFill>
                  <a:srgbClr val="262626"/>
                </a:solidFill>
              </a:rPr>
              <a:t>What will you learn today?</a:t>
            </a:r>
            <a:endParaRPr lang="en-IN" sz="2800" dirty="0">
              <a:solidFill>
                <a:srgbClr val="262626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/>
        </p:nvSpPr>
        <p:spPr>
          <a:xfrm>
            <a:off x="501577" y="894840"/>
            <a:ext cx="6546494" cy="38020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70C0"/>
              </a:buClr>
              <a:buNone/>
            </a:pPr>
            <a:endParaRPr lang="en-US" sz="16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rength </a:t>
            </a: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f </a:t>
            </a:r>
            <a:r>
              <a:rPr lang="en-US" sz="1400" dirty="0" err="1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pReduce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imitations of MapReduce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w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pReduce </a:t>
            </a: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imitations can be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vercome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ow Spark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its the bill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lnSpc>
                <a:spcPct val="200000"/>
              </a:lnSpc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ther exciting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eatures </a:t>
            </a:r>
            <a:r>
              <a:rPr lang="en-US" sz="1400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 </a:t>
            </a:r>
            <a:r>
              <a:rPr lang="en-US" sz="1400" dirty="0" smtClean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park</a:t>
            </a:r>
            <a:endParaRPr lang="en-US" sz="1400" dirty="0">
              <a:solidFill>
                <a:srgbClr val="0070C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09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Thank You</a:t>
            </a:r>
          </a:p>
          <a:p>
            <a:endParaRPr lang="en-US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Questions/Queries/Feedback/Survey</a:t>
            </a:r>
          </a:p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Recording and presentation will be made available to you within 24 hour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94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trength of MapReduce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91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2075380" y="914400"/>
            <a:ext cx="4684704" cy="3852809"/>
            <a:chOff x="1658368" y="741661"/>
            <a:chExt cx="5262989" cy="4287539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5681" y="2093817"/>
              <a:ext cx="1503906" cy="1503906"/>
            </a:xfrm>
            <a:prstGeom prst="rect">
              <a:avLst/>
            </a:prstGeom>
          </p:spPr>
        </p:pic>
        <p:sp>
          <p:nvSpPr>
            <p:cNvPr id="5" name="Oval 4"/>
            <p:cNvSpPr/>
            <p:nvPr/>
          </p:nvSpPr>
          <p:spPr>
            <a:xfrm>
              <a:off x="3709373" y="741661"/>
              <a:ext cx="1160980" cy="12534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1658368" y="2065158"/>
              <a:ext cx="1160980" cy="12534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>
              <a:off x="5760377" y="2065158"/>
              <a:ext cx="1160980" cy="12534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/>
            <p:cNvSpPr/>
            <p:nvPr/>
          </p:nvSpPr>
          <p:spPr>
            <a:xfrm>
              <a:off x="3709373" y="3775752"/>
              <a:ext cx="1160980" cy="12534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890553" y="1214496"/>
              <a:ext cx="79861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imple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865019" y="2560860"/>
              <a:ext cx="931415" cy="3082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calable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822351" y="4140866"/>
              <a:ext cx="935016" cy="5137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ault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olerant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61002" y="2322549"/>
              <a:ext cx="955711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t"/>
              <a:r>
                <a:rPr lang="en-US" sz="12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inimal </a:t>
              </a:r>
              <a:endPara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 fontAlgn="t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 </a:t>
              </a:r>
            </a:p>
            <a:p>
              <a:pPr algn="ctr" fontAlgn="t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otion</a:t>
              </a:r>
              <a:endParaRPr lang="en-US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98836" y="145917"/>
            <a:ext cx="4656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dirty="0">
                <a:solidFill>
                  <a:srgbClr val="262626"/>
                </a:solidFill>
              </a:rPr>
              <a:t>Strength of </a:t>
            </a:r>
            <a:r>
              <a:rPr lang="en-US" sz="2800" dirty="0" err="1" smtClean="0">
                <a:solidFill>
                  <a:srgbClr val="262626"/>
                </a:solidFill>
              </a:rPr>
              <a:t>MapReduce</a:t>
            </a:r>
            <a:endParaRPr lang="en-US" sz="2800" dirty="0">
              <a:solidFill>
                <a:srgbClr val="262626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954924" y="1268668"/>
            <a:ext cx="39387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ependent of a programming language, 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ch as Java, C++ or Python.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606145" y="2982703"/>
            <a:ext cx="44631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can process petabytes 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data, 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fontAlgn="t"/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ored 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HDFS on one cluster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853926" y="4152615"/>
            <a:ext cx="45933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pReduce takes care of failures</a:t>
            </a:r>
          </a:p>
          <a:p>
            <a:pPr algn="ctr" fontAlgn="t"/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ing the replicated copies.</a:t>
            </a:r>
            <a:endParaRPr lang="en-US" sz="12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72664" y="3225447"/>
            <a:ext cx="38659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 moves towards data to minimize </a:t>
            </a:r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k 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/O</a:t>
            </a:r>
          </a:p>
        </p:txBody>
      </p:sp>
    </p:spTree>
    <p:extLst>
      <p:ext uri="{BB962C8B-B14F-4D97-AF65-F5344CB8AC3E}">
        <p14:creationId xmlns:p14="http://schemas.microsoft.com/office/powerpoint/2010/main" val="259855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Limitations of MapReduce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7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166737" y="914400"/>
            <a:ext cx="4150318" cy="3852809"/>
            <a:chOff x="1761002" y="741660"/>
            <a:chExt cx="4662639" cy="4287539"/>
          </a:xfrm>
        </p:grpSpPr>
        <p:sp>
          <p:nvSpPr>
            <p:cNvPr id="4" name="Oval 3"/>
            <p:cNvSpPr/>
            <p:nvPr/>
          </p:nvSpPr>
          <p:spPr>
            <a:xfrm>
              <a:off x="3709373" y="741660"/>
              <a:ext cx="1160980" cy="12534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5262661" y="2964416"/>
              <a:ext cx="1160980" cy="12534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3709373" y="3775751"/>
              <a:ext cx="1160980" cy="125344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3986931" y="1162705"/>
              <a:ext cx="641474" cy="5137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al </a:t>
              </a:r>
            </a:p>
            <a:p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ime</a:t>
              </a:r>
              <a:endParaRPr lang="en-US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309009" y="3326015"/>
              <a:ext cx="1068282" cy="7192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mplex 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lgorithm</a:t>
              </a:r>
            </a:p>
            <a:p>
              <a:pPr algn="ctr"/>
              <a:endPara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670877" y="4045274"/>
              <a:ext cx="1273583" cy="9247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-reading </a:t>
              </a:r>
            </a:p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</a:t>
              </a:r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d parsing 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</a:t>
              </a:r>
            </a:p>
            <a:p>
              <a:pPr algn="ctr"/>
              <a:endParaRPr lang="en-US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61002" y="2322549"/>
              <a:ext cx="955711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t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inimal </a:t>
              </a:r>
            </a:p>
            <a:p>
              <a:pPr algn="ctr" fontAlgn="t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ata </a:t>
              </a:r>
            </a:p>
            <a:p>
              <a:pPr algn="ctr" fontAlgn="t"/>
              <a:r>
                <a:rPr lang="en-US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otion</a:t>
              </a:r>
              <a:endParaRPr lang="en-US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427" y="2294925"/>
            <a:ext cx="1361613" cy="904665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5209183" y="1412832"/>
            <a:ext cx="1033414" cy="11263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210281" y="1717590"/>
            <a:ext cx="105830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ph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ing </a:t>
            </a:r>
          </a:p>
          <a:p>
            <a:pPr algn="ctr"/>
            <a:endParaRPr lang="en-US"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582036" y="2844169"/>
            <a:ext cx="1033414" cy="11263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2537958" y="1412831"/>
            <a:ext cx="1033414" cy="11263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651944" y="3059623"/>
            <a:ext cx="86433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>
              <a:lnSpc>
                <a:spcPct val="150000"/>
              </a:lnSpc>
            </a:pPr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erative</a:t>
            </a:r>
          </a:p>
          <a:p>
            <a:pPr algn="ctr" fontAlgn="t">
              <a:lnSpc>
                <a:spcPct val="150000"/>
              </a:lnSpc>
            </a:pPr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sks</a:t>
            </a:r>
            <a:endParaRPr lang="en-US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642532" y="1717813"/>
            <a:ext cx="8242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ndom</a:t>
            </a:r>
          </a:p>
          <a:p>
            <a:pPr algn="ctr" fontAlgn="t"/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cess</a:t>
            </a:r>
            <a:endParaRPr lang="en-US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8836" y="145917"/>
            <a:ext cx="46560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dirty="0" smtClean="0">
                <a:solidFill>
                  <a:srgbClr val="262626"/>
                </a:solidFill>
              </a:rPr>
              <a:t>Limitations </a:t>
            </a:r>
            <a:r>
              <a:rPr lang="en-US" sz="2800" dirty="0">
                <a:solidFill>
                  <a:srgbClr val="262626"/>
                </a:solidFill>
              </a:rPr>
              <a:t>Of </a:t>
            </a:r>
            <a:r>
              <a:rPr lang="en-US" sz="2800" dirty="0" smtClean="0">
                <a:solidFill>
                  <a:srgbClr val="262626"/>
                </a:solidFill>
              </a:rPr>
              <a:t>MR</a:t>
            </a:r>
            <a:endParaRPr lang="en-US" sz="2800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711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8836" y="145917"/>
            <a:ext cx="692663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spcBef>
                <a:spcPct val="0"/>
              </a:spcBef>
            </a:pPr>
            <a:r>
              <a:rPr lang="en-IN" sz="2600" dirty="0" smtClean="0">
                <a:solidFill>
                  <a:srgbClr val="262626"/>
                </a:solidFill>
                <a:latin typeface="+mj-lt"/>
              </a:rPr>
              <a:t>Feature Comparison with Spark </a:t>
            </a:r>
            <a:endParaRPr lang="en-IN" sz="2600" dirty="0">
              <a:solidFill>
                <a:srgbClr val="262626"/>
              </a:solidFill>
              <a:latin typeface="+mj-lt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1984443" y="3336923"/>
          <a:ext cx="4474727" cy="1037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9690"/>
                <a:gridCol w="2215037"/>
              </a:tblGrid>
              <a:tr h="222629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Fast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00x faster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than </a:t>
                      </a: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apReduce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05816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Batch Processing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Batch and Real-tim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Processing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2629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tores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Data on Disk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tores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Data in Memory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222629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Written in Java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Written in Scala</a:t>
                      </a:r>
                      <a:endParaRPr lang="en-IN" sz="1000" b="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9412" y="763558"/>
            <a:ext cx="4638940" cy="254566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756770" y="3109539"/>
            <a:ext cx="4853218" cy="2580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300534" y="3081840"/>
            <a:ext cx="13115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 </a:t>
            </a:r>
            <a:r>
              <a:rPr lang="en-US" sz="10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pReduce</a:t>
            </a:r>
            <a:endParaRPr lang="en-IN" sz="10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23339" y="3109539"/>
            <a:ext cx="1085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rgbClr val="FFFF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doop Spark</a:t>
            </a:r>
            <a:endParaRPr lang="en-IN" sz="1000" b="1" dirty="0">
              <a:solidFill>
                <a:srgbClr val="FFFF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Isosceles Triangle 14"/>
          <p:cNvSpPr/>
          <p:nvPr/>
        </p:nvSpPr>
        <p:spPr>
          <a:xfrm rot="16200000">
            <a:off x="1374493" y="3093231"/>
            <a:ext cx="500066" cy="285752"/>
          </a:xfrm>
          <a:prstGeom prst="triangl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Isosceles Triangle 15"/>
          <p:cNvSpPr/>
          <p:nvPr/>
        </p:nvSpPr>
        <p:spPr>
          <a:xfrm rot="5400000" flipH="1">
            <a:off x="6496722" y="3093231"/>
            <a:ext cx="500066" cy="285752"/>
          </a:xfrm>
          <a:prstGeom prst="triangl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974715" y="2986074"/>
            <a:ext cx="4413010" cy="0"/>
          </a:xfrm>
          <a:prstGeom prst="line">
            <a:avLst/>
          </a:prstGeom>
          <a:ln>
            <a:solidFill>
              <a:srgbClr val="ED54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974715" y="1367721"/>
            <a:ext cx="4413010" cy="0"/>
          </a:xfrm>
          <a:prstGeom prst="line">
            <a:avLst/>
          </a:prstGeom>
          <a:ln>
            <a:solidFill>
              <a:srgbClr val="ED54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369379" y="4817895"/>
            <a:ext cx="11769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1050" kern="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urce: </a:t>
            </a:r>
            <a:r>
              <a:rPr lang="en-US" sz="1050" kern="0" dirty="0" err="1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brix</a:t>
            </a:r>
            <a:endParaRPr lang="en-IN" sz="1050" kern="0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63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10886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What are the MR limitations and how Spark overcomes it?</a:t>
            </a:r>
          </a:p>
        </p:txBody>
      </p:sp>
    </p:spTree>
    <p:extLst>
      <p:ext uri="{BB962C8B-B14F-4D97-AF65-F5344CB8AC3E}">
        <p14:creationId xmlns:p14="http://schemas.microsoft.com/office/powerpoint/2010/main" val="331933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836" y="145917"/>
            <a:ext cx="59300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sz="2800" dirty="0" smtClean="0">
                <a:solidFill>
                  <a:srgbClr val="262626"/>
                </a:solidFill>
              </a:rPr>
              <a:t>Overcoming MR limitations</a:t>
            </a:r>
            <a:endParaRPr lang="en-US" sz="2800" dirty="0">
              <a:solidFill>
                <a:srgbClr val="262626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265948" y="1901657"/>
            <a:ext cx="5277366" cy="2310264"/>
            <a:chOff x="1853776" y="1683935"/>
            <a:chExt cx="5277366" cy="2310264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4517" y="1683935"/>
              <a:ext cx="2236625" cy="1970543"/>
            </a:xfrm>
            <a:prstGeom prst="rect">
              <a:avLst/>
            </a:prstGeom>
            <a:effectLst>
              <a:softEdge rad="127000"/>
            </a:effectLst>
          </p:spPr>
        </p:pic>
        <p:grpSp>
          <p:nvGrpSpPr>
            <p:cNvPr id="15" name="Group 14"/>
            <p:cNvGrpSpPr/>
            <p:nvPr/>
          </p:nvGrpSpPr>
          <p:grpSpPr>
            <a:xfrm>
              <a:off x="1853776" y="2673744"/>
              <a:ext cx="3013388" cy="1320455"/>
              <a:chOff x="2573578" y="2529295"/>
              <a:chExt cx="3505922" cy="2512869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940927">
                <a:off x="4035582" y="2998246"/>
                <a:ext cx="2512869" cy="1574967"/>
              </a:xfrm>
              <a:prstGeom prst="rect">
                <a:avLst/>
              </a:prstGeom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573578" y="2593835"/>
                <a:ext cx="2363047" cy="1695449"/>
              </a:xfrm>
              <a:prstGeom prst="rect">
                <a:avLst/>
              </a:prstGeom>
            </p:spPr>
          </p:pic>
        </p:grpSp>
      </p:grpSp>
      <p:sp>
        <p:nvSpPr>
          <p:cNvPr id="23" name="Rectangle 22"/>
          <p:cNvSpPr/>
          <p:nvPr/>
        </p:nvSpPr>
        <p:spPr>
          <a:xfrm>
            <a:off x="4386962" y="3783630"/>
            <a:ext cx="26343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2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y Cutting </a:t>
            </a:r>
            <a:r>
              <a:rPr lang="en-US" sz="12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wn on the number of </a:t>
            </a:r>
            <a:r>
              <a:rPr lang="en-US" sz="12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ds </a:t>
            </a:r>
            <a:r>
              <a:rPr lang="en-US" sz="12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</a:t>
            </a:r>
            <a:r>
              <a:rPr lang="en-US" sz="12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rites </a:t>
            </a:r>
            <a:r>
              <a:rPr lang="en-US" sz="12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 the </a:t>
            </a:r>
            <a:r>
              <a:rPr lang="en-US" sz="12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c</a:t>
            </a:r>
            <a:endParaRPr lang="en-US" sz="12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45004" flipH="1">
            <a:off x="7122714" y="1255069"/>
            <a:ext cx="1798805" cy="1760685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8019539" y="1558330"/>
            <a:ext cx="522899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en-US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l </a:t>
            </a:r>
            <a:endParaRPr lang="en-US" sz="105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fontAlgn="t"/>
            <a:r>
              <a:rPr lang="en-US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me</a:t>
            </a:r>
            <a:endParaRPr lang="en-US" sz="105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766654" flipH="1">
            <a:off x="6159422" y="937401"/>
            <a:ext cx="1631071" cy="1755096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 rot="20280192">
            <a:off x="6406487" y="1269788"/>
            <a:ext cx="837089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head</a:t>
            </a:r>
          </a:p>
          <a:p>
            <a:pPr algn="ctr"/>
            <a:r>
              <a:rPr lang="en-US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ding,</a:t>
            </a:r>
          </a:p>
          <a:p>
            <a:pPr algn="ctr"/>
            <a:r>
              <a:rPr lang="en-US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sing </a:t>
            </a:r>
            <a:endParaRPr lang="en-US" sz="105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79" y="859972"/>
            <a:ext cx="3915508" cy="246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78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rain4ce_course_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9783</TotalTime>
  <Words>497</Words>
  <Application>Microsoft Office PowerPoint</Application>
  <PresentationFormat>On-screen Show (16:9)</PresentationFormat>
  <Paragraphs>136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stellar</vt:lpstr>
      <vt:lpstr>HP Simplified</vt:lpstr>
      <vt:lpstr>Tahoma</vt:lpstr>
      <vt:lpstr>Wingdings</vt:lpstr>
      <vt:lpstr>2_Brain4ce_course_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mala</dc:creator>
  <cp:lastModifiedBy>Vardhan</cp:lastModifiedBy>
  <cp:revision>1367</cp:revision>
  <dcterms:created xsi:type="dcterms:W3CDTF">2014-07-21T07:23:07Z</dcterms:created>
  <dcterms:modified xsi:type="dcterms:W3CDTF">2015-10-08T05:12:47Z</dcterms:modified>
</cp:coreProperties>
</file>